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63" r:id="rId6"/>
    <p:sldId id="267" r:id="rId7"/>
    <p:sldId id="269" r:id="rId8"/>
    <p:sldId id="268" r:id="rId9"/>
  </p:sldIdLst>
  <p:sldSz cx="12192000" cy="6858000"/>
  <p:notesSz cx="6858000" cy="9144000"/>
  <p:custDataLst>
    <p:tags r:id="rId10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3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A5577-4286-4201-A6D6-57FC6A537A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C89436-8965-4251-9290-2BBBB3C979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CC9149-EB5F-46E9-A6F4-5DB9CFA887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E0C812-8888-403A-9060-4AE9ECB15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986A53-5491-43FB-A14C-1734A6E8D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923004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A2F96-BFCD-493D-BB82-75540925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59B91A-8290-41B8-8E2D-DA6895E439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564349-5C1B-463B-AE80-DA173C7A9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381E3D-3CDB-4C9D-8908-62DA76017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FD22D8-A771-4F05-ACCA-8853A0274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216556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153FD0-70F8-403D-9DB3-53A60FB762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C5F1FF-7D66-4B61-BBFE-674CFE3626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97B0AB-3C84-42AD-915B-E9CCCD35D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AF39F0-48F6-4BFC-B0E0-C60E4BAB5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60410-4E90-4A25-821D-4662E460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00919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0DDED-18C4-46B2-B944-636C3B808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44108A-4697-4818-8A64-8CB1EAEEA7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598298-3C3E-4178-A851-A2DE01237F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098A98-B474-439A-85EB-EC16D2EB0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E27135-87E7-4BC1-99DB-0027B15321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163796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612A5-0881-44C9-BF53-FACF597D6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1040B6-3D42-4832-9296-396F4A2207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DA1C72-E13D-483C-B513-0AC96CB0BF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2ECE1E-FBDF-446E-8461-979085D53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1D531B-C020-4301-B2BD-69007EC53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628204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987A34-760F-44A1-8708-3F514F256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E11033-3C4D-4EDC-AF25-220D4C0A75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6F0DED-5D76-45F4-ABF5-BC267336F9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C11E81-269B-4B0F-8896-50FDF0E6A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B9102E-C301-48C8-9479-190A8F572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05C35D-B0F7-4964-8E66-9F82134D8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84603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769BA-64B9-40FB-8A75-B329F228B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547F42-08B4-4717-BBCD-055E008023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D22BBC-C17A-4860-93CB-CB4159C689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F87E3C-FA90-4DA5-A125-573A34FCA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0E1272C-6359-4136-828E-2B055CE77A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F64C0A-385E-403C-A0C1-94F269A0C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E71D68B-26E3-40D8-8DB9-BE805B852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32149E-66E9-47D4-9BA9-10ED03CFA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20418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2596F-BE25-4D02-9C8C-2FD112183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3E54E85-6B04-4F32-836F-162C09CB72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0C3F12-AA28-4582-9A38-0A2FAD73F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DA1045-BB7E-4A31-8E4C-00788D3EF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632206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3D68527-80E5-4A99-9728-64360E846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F3888-D0EF-4559-8EFC-C4C574C01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F2C60-33E0-49C7-BA6A-AFE334CC6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84410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8E0B7-D6A3-4E09-8C85-3D16CDF998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37C929-3BE9-4521-A23A-ACF310B363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7F1868-AE0E-4130-A70C-7D998E383D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C93240-5FD0-4818-A2BC-737A0F3A6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063743-C353-4D8B-B11C-81C5F9CC49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0E6680-70A3-4501-A292-756021918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31409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D16390-393B-446A-9CD3-A20CCEBA1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45E7553-7C53-42D0-AA90-2BF482975C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5AB48A-9992-4818-B0DF-109FC185BF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247E17-D7F3-40F4-A519-ED30710322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8345E1-5873-44A4-8EEC-35751DECB1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1BB770-3D57-4742-AD56-F30A607BE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77825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DCBA7E-DBBA-4655-B0C0-48CFDA2D33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211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5DCBA7E-DBBA-4655-B0C0-48CFDA2D3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B16CC9-5D5B-4D14-885D-48E894227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BA5A81-EBA2-4C1E-A580-A7410B4A59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2C359-72D7-44CC-82E6-69E20361CD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4D847C-BB2B-4656-9D0E-A2DD7B23D2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21637-D9F3-48B1-86BD-3BA897BC05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20896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.jpeg"/><Relationship Id="rId5" Type="http://schemas.openxmlformats.org/officeDocument/2006/relationships/hyperlink" Target="https://www.ojersjoif.se/Page/353961" TargetMode="Externa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0758B2F-A49A-485F-934D-7F3ED441A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01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0758B2F-A49A-485F-934D-7F3ED441A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9203DE33-2CD4-4CA8-9AF3-37C3B65133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F57B88-1D4C-41FA-A761-EC1DD10C35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11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548F45-5164-4ABB-8212-7F293FDED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9565" y="2659404"/>
            <a:ext cx="4355594" cy="4040742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E81CCFB-7BEF-4186-86FB-D09450B4D0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AE02FF-05F7-4872-9C0F-73ABD85BFF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022" y="2835263"/>
            <a:ext cx="3675682" cy="3836009"/>
          </a:xfrm>
        </p:spPr>
        <p:txBody>
          <a:bodyPr vert="horz" anchor="t">
            <a:normAutofit/>
          </a:bodyPr>
          <a:lstStyle/>
          <a:p>
            <a:r>
              <a:rPr lang="sv-SE" sz="4400" dirty="0">
                <a:solidFill>
                  <a:srgbClr val="FFFFFF"/>
                </a:solidFill>
              </a:rPr>
              <a:t>Öjersjö IF P-15</a:t>
            </a:r>
            <a:br>
              <a:rPr lang="sv-SE" sz="4400" dirty="0">
                <a:solidFill>
                  <a:srgbClr val="FFFFFF"/>
                </a:solidFill>
              </a:rPr>
            </a:br>
            <a:br>
              <a:rPr lang="sv-SE" sz="4400" dirty="0">
                <a:solidFill>
                  <a:srgbClr val="FFFFFF"/>
                </a:solidFill>
              </a:rPr>
            </a:br>
            <a:br>
              <a:rPr lang="sv-SE" sz="4400" dirty="0">
                <a:solidFill>
                  <a:srgbClr val="FFFFFF"/>
                </a:solidFill>
              </a:rPr>
            </a:br>
            <a:br>
              <a:rPr lang="sv-SE" sz="4400" dirty="0">
                <a:solidFill>
                  <a:srgbClr val="FFFFFF"/>
                </a:solidFill>
              </a:rPr>
            </a:br>
            <a:endParaRPr lang="sv-SE" sz="4400" dirty="0">
              <a:solidFill>
                <a:srgbClr val="FFFFFF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185909-A219-4973-8380-E6DB8CCFAA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2921" y="460892"/>
            <a:ext cx="3487783" cy="1382392"/>
          </a:xfrm>
        </p:spPr>
        <p:txBody>
          <a:bodyPr anchor="b">
            <a:normAutofit/>
          </a:bodyPr>
          <a:lstStyle/>
          <a:p>
            <a:r>
              <a:rPr lang="sv-SE" dirty="0">
                <a:solidFill>
                  <a:srgbClr val="FFFFFF"/>
                </a:solidFill>
              </a:rPr>
              <a:t>Föräldrainfo 2024-01-15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D40F675-6119-4007-8B44-7D020DD0CB9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4968990" y="232509"/>
            <a:ext cx="6506729" cy="649628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41040934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1984B6-CB27-4333-AE42-C55F7E674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057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1984B6-CB27-4333-AE42-C55F7E674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9FDB87E-B2F1-4AF5-B5F7-AA5DFDF40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16030" y="678909"/>
            <a:ext cx="7164198" cy="4069625"/>
          </a:xfrm>
        </p:spPr>
        <p:txBody>
          <a:bodyPr>
            <a:normAutofit fontScale="85000" lnSpcReduction="20000"/>
          </a:bodyPr>
          <a:lstStyle/>
          <a:p>
            <a:pPr marL="457200" lvl="1" indent="0">
              <a:lnSpc>
                <a:spcPct val="110000"/>
              </a:lnSpc>
              <a:buNone/>
            </a:pPr>
            <a:r>
              <a:rPr lang="sv-SE" sz="3500" dirty="0"/>
              <a:t>Ledare P-15 </a:t>
            </a:r>
          </a:p>
          <a:p>
            <a:pPr marL="457200" lvl="1" indent="0">
              <a:buNone/>
            </a:pPr>
            <a:endParaRPr lang="sv-SE" dirty="0"/>
          </a:p>
          <a:p>
            <a:pPr lvl="1"/>
            <a:r>
              <a:rPr lang="sv-SE" dirty="0"/>
              <a:t>Daniel Möller (Elvin)		070-229 58 16</a:t>
            </a:r>
          </a:p>
          <a:p>
            <a:pPr lvl="1"/>
            <a:r>
              <a:rPr lang="sv-SE" dirty="0"/>
              <a:t>Eric Åkerman (Nelson)		070-081 81 18</a:t>
            </a:r>
          </a:p>
          <a:p>
            <a:pPr lvl="1"/>
            <a:r>
              <a:rPr lang="sv-SE" dirty="0"/>
              <a:t>Moa Andersson (Otto) 		073-712 88 15 </a:t>
            </a:r>
          </a:p>
          <a:p>
            <a:pPr lvl="1"/>
            <a:r>
              <a:rPr lang="sv-SE" dirty="0"/>
              <a:t>Niclas Palmér (William P)		076-034 91 07</a:t>
            </a:r>
          </a:p>
          <a:p>
            <a:pPr lvl="1"/>
            <a:r>
              <a:rPr lang="sv-SE" dirty="0"/>
              <a:t>Richard Berggren (Adam B)		070-774 56 74</a:t>
            </a:r>
          </a:p>
          <a:p>
            <a:pPr lvl="1"/>
            <a:r>
              <a:rPr lang="sv-SE" dirty="0"/>
              <a:t>Sanna Rydberg (Elias) 		072-970 76 04</a:t>
            </a:r>
          </a:p>
          <a:p>
            <a:pPr lvl="1"/>
            <a:r>
              <a:rPr lang="sv-SE" dirty="0"/>
              <a:t>Tina Malmqvist (Gustav M) 		072-371 78 84</a:t>
            </a:r>
          </a:p>
          <a:p>
            <a:pPr marL="457200" lvl="1" indent="0">
              <a:buNone/>
            </a:pPr>
            <a:r>
              <a:rPr lang="sv-SE" dirty="0"/>
              <a:t>	</a:t>
            </a:r>
          </a:p>
          <a:p>
            <a:pPr lvl="1"/>
            <a:endParaRPr lang="sv-SE" dirty="0"/>
          </a:p>
          <a:p>
            <a:pPr marL="457200" lvl="1" indent="0">
              <a:lnSpc>
                <a:spcPct val="110000"/>
              </a:lnSpc>
              <a:buNone/>
            </a:pPr>
            <a:r>
              <a:rPr lang="sv-SE" sz="3500" dirty="0" err="1"/>
              <a:t>Admin</a:t>
            </a:r>
            <a:r>
              <a:rPr lang="sv-SE" sz="3500" dirty="0"/>
              <a:t> P-15</a:t>
            </a:r>
          </a:p>
          <a:p>
            <a:pPr lvl="1"/>
            <a:r>
              <a:rPr lang="sv-SE" dirty="0"/>
              <a:t>Caroline Ericsson (Linus)		072-993 09 33</a:t>
            </a:r>
          </a:p>
          <a:p>
            <a:pPr lvl="1"/>
            <a:endParaRPr lang="sv-SE" sz="1800" dirty="0"/>
          </a:p>
        </p:txBody>
      </p:sp>
      <p:pic>
        <p:nvPicPr>
          <p:cNvPr id="2" name="Picture 3">
            <a:extLst>
              <a:ext uri="{FF2B5EF4-FFF2-40B4-BE49-F238E27FC236}">
                <a16:creationId xmlns:a16="http://schemas.microsoft.com/office/drawing/2014/main" id="{113CF55B-5D27-7E66-6DAF-72383E00086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242874" y="203819"/>
            <a:ext cx="2290602" cy="228692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5481848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1984B6-CB27-4333-AE42-C55F7E674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1984B6-CB27-4333-AE42-C55F7E674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8B05203-224D-4DBF-9678-8E12532D85A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242874" y="203819"/>
            <a:ext cx="2290602" cy="228692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9FDB87E-B2F1-4AF5-B5F7-AA5DFDF40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31473" y="678909"/>
            <a:ext cx="9538282" cy="5503777"/>
          </a:xfrm>
        </p:spPr>
        <p:txBody>
          <a:bodyPr>
            <a:normAutofit/>
          </a:bodyPr>
          <a:lstStyle/>
          <a:p>
            <a:pPr marL="457200" lvl="1" indent="0">
              <a:buNone/>
            </a:pPr>
            <a:r>
              <a:rPr lang="sv-SE" sz="3200" dirty="0"/>
              <a:t>Träningar / Seriespel / Cup</a:t>
            </a:r>
          </a:p>
          <a:p>
            <a:pPr marL="457200" lvl="1" indent="0">
              <a:buNone/>
            </a:pPr>
            <a:r>
              <a:rPr lang="sv-SE" sz="1600" b="1" dirty="0"/>
              <a:t>Träningar</a:t>
            </a:r>
          </a:p>
          <a:p>
            <a:pPr lvl="1"/>
            <a:r>
              <a:rPr lang="sv-SE" sz="1600" dirty="0"/>
              <a:t>Inomhusträning 1 träning/vecka – söndagar 13:00-14:00 Öjersjö Brunn start 14 jan</a:t>
            </a:r>
          </a:p>
          <a:p>
            <a:pPr lvl="1"/>
            <a:endParaRPr lang="sv-SE" sz="1050" dirty="0"/>
          </a:p>
          <a:p>
            <a:pPr lvl="1"/>
            <a:r>
              <a:rPr lang="sv-SE" sz="1600" dirty="0"/>
              <a:t>Utomhusträning 1 träning/vecka – söndagar 09:30-11.00 på </a:t>
            </a:r>
            <a:r>
              <a:rPr lang="sv-SE" sz="1600" dirty="0" err="1"/>
              <a:t>Storegård</a:t>
            </a:r>
            <a:r>
              <a:rPr lang="sv-SE" sz="1600" dirty="0"/>
              <a:t> start när vädret är ok</a:t>
            </a:r>
          </a:p>
          <a:p>
            <a:pPr marL="457200" lvl="1" indent="0">
              <a:buNone/>
            </a:pPr>
            <a:endParaRPr lang="sv-SE" sz="1050" dirty="0"/>
          </a:p>
          <a:p>
            <a:pPr marL="457200" lvl="1" indent="0">
              <a:buNone/>
            </a:pPr>
            <a:endParaRPr lang="sv-SE" sz="1600" b="1" dirty="0"/>
          </a:p>
          <a:p>
            <a:pPr marL="457200" lvl="1" indent="0">
              <a:buNone/>
            </a:pPr>
            <a:r>
              <a:rPr lang="sv-SE" sz="1600" b="1" dirty="0"/>
              <a:t>Seriespel / Cup</a:t>
            </a:r>
            <a:endParaRPr lang="sv-SE" sz="1600" dirty="0"/>
          </a:p>
          <a:p>
            <a:pPr lvl="1"/>
            <a:r>
              <a:rPr lang="sv-SE" sz="1600" dirty="0"/>
              <a:t>Seriespel, onsdagar ca </a:t>
            </a:r>
            <a:r>
              <a:rPr lang="sv-SE" sz="1600" dirty="0" err="1"/>
              <a:t>kl</a:t>
            </a:r>
            <a:r>
              <a:rPr lang="sv-SE" sz="1600" dirty="0"/>
              <a:t> 17:00-19:00 område Öster, vecka 16-23, vecka 34-40.</a:t>
            </a:r>
          </a:p>
          <a:p>
            <a:pPr marL="457200" lvl="1" indent="0">
              <a:buNone/>
            </a:pPr>
            <a:r>
              <a:rPr lang="sv-SE" sz="1600" dirty="0"/>
              <a:t>Intresseanmälan kommer att skickas ut via Laget där ni får återkomma om ni vill delta i seriespel och hur ofta ni kan delta. </a:t>
            </a:r>
          </a:p>
          <a:p>
            <a:pPr marL="914400" lvl="2" indent="0">
              <a:buNone/>
            </a:pPr>
            <a:endParaRPr lang="sv-SE" sz="1600" dirty="0"/>
          </a:p>
          <a:p>
            <a:pPr lvl="1"/>
            <a:r>
              <a:rPr lang="sv-SE" sz="1600" dirty="0"/>
              <a:t>Öjersjöcupen: 4-5 maj. P15 spelar 4 maj</a:t>
            </a:r>
          </a:p>
          <a:p>
            <a:pPr marL="457200" lvl="1" indent="0">
              <a:buNone/>
            </a:pPr>
            <a:r>
              <a:rPr lang="sv-SE" sz="1600" dirty="0"/>
              <a:t>Alla föräldrar kommer att få ett arbetspass, detta kommer att kommuniceras ut via föreningen. </a:t>
            </a:r>
          </a:p>
          <a:p>
            <a:pPr lvl="1"/>
            <a:endParaRPr lang="sv-SE" sz="1600" dirty="0"/>
          </a:p>
          <a:p>
            <a:pPr lvl="1"/>
            <a:r>
              <a:rPr lang="sv-SE" sz="1600" dirty="0"/>
              <a:t>P15 kommer att delta i ytterligare en cup under hösten, återkommer med mer info</a:t>
            </a:r>
          </a:p>
          <a:p>
            <a:pPr marL="457200" lvl="1" indent="0">
              <a:buNone/>
            </a:pPr>
            <a:endParaRPr lang="sv-SE" sz="1600" dirty="0"/>
          </a:p>
          <a:p>
            <a:pPr marL="457200" lvl="1" indent="0">
              <a:buNone/>
            </a:pPr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19663340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1984B6-CB27-4333-AE42-C55F7E674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1984B6-CB27-4333-AE42-C55F7E674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9FDB87E-B2F1-4AF5-B5F7-AA5DFDF40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39194" y="678909"/>
            <a:ext cx="9655728" cy="5975272"/>
          </a:xfrm>
        </p:spPr>
        <p:txBody>
          <a:bodyPr>
            <a:noAutofit/>
          </a:bodyPr>
          <a:lstStyle/>
          <a:p>
            <a:pPr marL="457200" lvl="1" indent="0">
              <a:buNone/>
            </a:pPr>
            <a:r>
              <a:rPr lang="sv-SE" sz="3200" dirty="0"/>
              <a:t>Övrigt</a:t>
            </a:r>
          </a:p>
          <a:p>
            <a:pPr marL="457200" lvl="1" indent="0">
              <a:buNone/>
            </a:pPr>
            <a:endParaRPr lang="sv-SE" sz="1600" dirty="0"/>
          </a:p>
          <a:p>
            <a:pPr lvl="1"/>
            <a:r>
              <a:rPr lang="sv-SE" sz="1600" dirty="0"/>
              <a:t>Kom i tid till träningarna! </a:t>
            </a:r>
          </a:p>
          <a:p>
            <a:pPr lvl="1"/>
            <a:r>
              <a:rPr lang="sv-SE" sz="1600" dirty="0"/>
              <a:t>Man får som förälder vara kvar vid planen och kolla på träningen, men det är inget krav.</a:t>
            </a:r>
          </a:p>
          <a:p>
            <a:pPr lvl="1"/>
            <a:r>
              <a:rPr lang="sv-SE" sz="1600" dirty="0"/>
              <a:t>Anmälan till träningarna sänds ut via Laget. Se till att anmäla/avanmäla närvaro i tid så att vi kan planera på bästa sätt</a:t>
            </a:r>
          </a:p>
          <a:p>
            <a:pPr lvl="1"/>
            <a:r>
              <a:rPr lang="sv-SE" sz="1600" dirty="0"/>
              <a:t>Glöm inte benskydd och vattenflaska till varje träning</a:t>
            </a:r>
          </a:p>
          <a:p>
            <a:pPr lvl="1"/>
            <a:r>
              <a:rPr lang="sv-SE" sz="1600" dirty="0"/>
              <a:t>Laget.se - lägg gärna in foto </a:t>
            </a:r>
            <a:r>
              <a:rPr lang="sv-SE" sz="1600" dirty="0">
                <a:sym typeface="Wingdings" panose="05000000000000000000" pitchFamily="2" charset="2"/>
              </a:rPr>
              <a:t>och håll kontaktuppgifter aktuella</a:t>
            </a:r>
          </a:p>
          <a:p>
            <a:pPr lvl="1"/>
            <a:r>
              <a:rPr lang="sv-SE" sz="1600" dirty="0"/>
              <a:t>Föräldragrupp: Fixar minst 2 lagsammanhållande aktiviteter/år utanför planen. Hör av er till Caroline om ni vill driva detta.</a:t>
            </a:r>
          </a:p>
          <a:p>
            <a:pPr lvl="1"/>
            <a:r>
              <a:rPr lang="sv-SE" sz="1600" dirty="0" err="1"/>
              <a:t>WhatsApp</a:t>
            </a:r>
            <a:r>
              <a:rPr lang="sv-SE" sz="1600" dirty="0"/>
              <a:t>-grupp för kommunikation: kontakta Caroline om ni vill läggas till i gruppen</a:t>
            </a:r>
          </a:p>
          <a:p>
            <a:pPr lvl="1"/>
            <a:r>
              <a:rPr lang="sv-SE" sz="1600" dirty="0"/>
              <a:t>Öjersjö IF:s kläder finns att beställa via länk: </a:t>
            </a:r>
            <a:r>
              <a:rPr lang="sv-SE" sz="1600" dirty="0">
                <a:hlinkClick r:id="rId5"/>
              </a:rPr>
              <a:t>Klubbshop | Öjersjö IF (ojersjoif.se)</a:t>
            </a:r>
            <a:r>
              <a:rPr lang="sv-SE" sz="1600" dirty="0"/>
              <a:t> och att prova i klubbhuset.</a:t>
            </a:r>
          </a:p>
          <a:p>
            <a:pPr lvl="1"/>
            <a:endParaRPr lang="sv-SE" sz="1600" dirty="0"/>
          </a:p>
          <a:p>
            <a:pPr lvl="1"/>
            <a:endParaRPr lang="sv-SE" sz="1600" dirty="0"/>
          </a:p>
          <a:p>
            <a:pPr lvl="1"/>
            <a:endParaRPr lang="sv-SE" sz="1600" dirty="0"/>
          </a:p>
          <a:p>
            <a:pPr lvl="1"/>
            <a:endParaRPr lang="sv-SE" sz="1600" dirty="0"/>
          </a:p>
        </p:txBody>
      </p:sp>
      <p:pic>
        <p:nvPicPr>
          <p:cNvPr id="2" name="Picture 3">
            <a:extLst>
              <a:ext uri="{FF2B5EF4-FFF2-40B4-BE49-F238E27FC236}">
                <a16:creationId xmlns:a16="http://schemas.microsoft.com/office/drawing/2014/main" id="{2A5B3E66-74F2-986B-A5FB-707421E0CBF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242874" y="203819"/>
            <a:ext cx="2290602" cy="228692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9918565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1984B6-CB27-4333-AE42-C55F7E674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1984B6-CB27-4333-AE42-C55F7E674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9FDB87E-B2F1-4AF5-B5F7-AA5DFDF40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39194" y="678909"/>
            <a:ext cx="9655728" cy="5975272"/>
          </a:xfrm>
        </p:spPr>
        <p:txBody>
          <a:bodyPr>
            <a:noAutofit/>
          </a:bodyPr>
          <a:lstStyle/>
          <a:p>
            <a:pPr marL="457200" lvl="1" indent="0">
              <a:buNone/>
            </a:pPr>
            <a:r>
              <a:rPr lang="sv-SE" sz="3200" dirty="0"/>
              <a:t>Övrigt</a:t>
            </a:r>
          </a:p>
          <a:p>
            <a:pPr lvl="1"/>
            <a:endParaRPr lang="sv-SE" sz="1600" dirty="0"/>
          </a:p>
          <a:p>
            <a:pPr marL="457200" marR="0" lvl="1" indent="0" fontAlgn="base">
              <a:spcAft>
                <a:spcPct val="0"/>
              </a:spcAft>
              <a:buClrTx/>
              <a:buSzTx/>
              <a:buNone/>
              <a:tabLst/>
            </a:pPr>
            <a:r>
              <a:rPr lang="sv-SE" altLang="sv-SE" sz="1600" b="1" dirty="0"/>
              <a:t>Vill du vara med och påverka i Öjersjö IF?</a:t>
            </a:r>
          </a:p>
          <a:p>
            <a:pPr marL="457200" marR="0" lvl="1" indent="0" fontAlgn="base">
              <a:spcAft>
                <a:spcPct val="0"/>
              </a:spcAft>
              <a:buClrTx/>
              <a:buSzTx/>
              <a:buNone/>
              <a:tabLst/>
            </a:pPr>
            <a:r>
              <a:rPr lang="sv-SE" altLang="sv-SE" sz="1600" dirty="0"/>
              <a:t>Hej alla föräldrar &amp; ledare! </a:t>
            </a:r>
          </a:p>
          <a:p>
            <a:pPr marL="457200" marR="0" lvl="1" indent="0" fontAlgn="base">
              <a:spcAft>
                <a:spcPct val="0"/>
              </a:spcAft>
              <a:buClrTx/>
              <a:buSzTx/>
              <a:buNone/>
              <a:tabLst/>
            </a:pPr>
            <a:r>
              <a:rPr lang="sv-SE" altLang="sv-SE" sz="1600" dirty="0"/>
              <a:t>Nu påbörjas arbetet med att förstärka styrelsen &amp; arbetsgrupper i Öjersjö IF inför 2024 och framåt och vi söker DIG som vill vara med och ta ansvar &amp; påverka vår verksamhet! Öjersjö </a:t>
            </a:r>
            <a:r>
              <a:rPr lang="sv-SE" altLang="sv-SE" sz="1600" dirty="0" err="1"/>
              <a:t>IF’s</a:t>
            </a:r>
            <a:r>
              <a:rPr lang="sv-SE" altLang="sv-SE" sz="1600" dirty="0"/>
              <a:t> verksamhet bygger helt på ideellt engagemang från oss föräldrar och utöver alla våra fantastiska ledare på plan så behövs fler engagerade i både arbetsgrupper och styrelse. </a:t>
            </a:r>
          </a:p>
          <a:p>
            <a:pPr marL="457200" marR="0" lvl="1" indent="0" fontAlgn="base">
              <a:spcAft>
                <a:spcPct val="0"/>
              </a:spcAft>
              <a:buClrTx/>
              <a:buSzTx/>
              <a:buNone/>
              <a:tabLst/>
            </a:pPr>
            <a:r>
              <a:rPr lang="sv-SE" altLang="sv-SE" sz="1600" dirty="0"/>
              <a:t>Vi söker inför 2024 särskilt föräldrar med yngre barn i föreningen, då många i styrelsen har äldre barn och vi behöver börja förbereda ett ”generationsskifte” 😊 Det finns många olika sätt att engagera sig beroende på intresse; antingen som styrelseledamot med intresse för helheten i föreningen eller i specifika arbetsgrupper såsom exempelvis cuper &amp; café, sponsring &amp; anläggning/arenautveckling. </a:t>
            </a:r>
          </a:p>
          <a:p>
            <a:pPr marL="457200" marR="0" lvl="1" indent="0" fontAlgn="base">
              <a:spcAft>
                <a:spcPct val="0"/>
              </a:spcAft>
              <a:buClrTx/>
              <a:buSzTx/>
              <a:buNone/>
              <a:tabLst/>
            </a:pPr>
            <a:r>
              <a:rPr lang="sv-SE" altLang="sv-SE" sz="1600" dirty="0"/>
              <a:t>Vi är ett gott gäng med mycket spännande på gång och vi behöver bli fler för att kunna fortsätta utveckla Öjersjö IF till den allra bästa klubben för våra barn och ungdomar! </a:t>
            </a:r>
          </a:p>
          <a:p>
            <a:pPr marL="457200" marR="0" lvl="1" indent="0" fontAlgn="base">
              <a:spcAft>
                <a:spcPct val="0"/>
              </a:spcAft>
              <a:buClrTx/>
              <a:buSzTx/>
              <a:buNone/>
              <a:tabLst/>
            </a:pPr>
            <a:endParaRPr lang="sv-SE" altLang="sv-SE" sz="1600" dirty="0"/>
          </a:p>
          <a:p>
            <a:pPr marL="457200" marR="0" lvl="1" indent="0" fontAlgn="base">
              <a:spcAft>
                <a:spcPct val="0"/>
              </a:spcAft>
              <a:buClrTx/>
              <a:buSzTx/>
              <a:buNone/>
              <a:tabLst/>
            </a:pPr>
            <a:r>
              <a:rPr lang="sv-SE" altLang="sv-SE" sz="1600" dirty="0"/>
              <a:t>Vill du veta mer, eller tips oss om någon annan, hör av dig till någon av oss i styrelsen eller till vår valberedning: </a:t>
            </a:r>
          </a:p>
          <a:p>
            <a:pPr marL="457200" marR="0" lvl="1" indent="0" fontAlgn="base">
              <a:spcAft>
                <a:spcPct val="0"/>
              </a:spcAft>
              <a:buClrTx/>
              <a:buSzTx/>
              <a:buNone/>
              <a:tabLst/>
            </a:pPr>
            <a:r>
              <a:rPr lang="sv-SE" altLang="sv-SE" sz="1600" dirty="0"/>
              <a:t>Linda Ivarsson, linda.ivarsson@aptiv.com </a:t>
            </a:r>
          </a:p>
          <a:p>
            <a:pPr marL="457200" marR="0" lvl="1" indent="0" fontAlgn="base">
              <a:spcAft>
                <a:spcPct val="0"/>
              </a:spcAft>
              <a:buClrTx/>
              <a:buSzTx/>
              <a:buNone/>
              <a:tabLst/>
            </a:pPr>
            <a:r>
              <a:rPr lang="sv-SE" altLang="sv-SE" sz="1600" dirty="0"/>
              <a:t>Johan Beyer, johan.beyer@powercellgroup.com</a:t>
            </a:r>
          </a:p>
          <a:p>
            <a:pPr marL="457200" marR="0" lvl="1" indent="0" fontAlgn="base">
              <a:spcAft>
                <a:spcPct val="0"/>
              </a:spcAft>
              <a:buClrTx/>
              <a:buSzTx/>
              <a:buNone/>
              <a:tabLst/>
            </a:pPr>
            <a:endParaRPr lang="sv-SE" sz="1600" dirty="0"/>
          </a:p>
          <a:p>
            <a:pPr marL="457200" marR="0" lvl="1" indent="0" fontAlgn="base">
              <a:spcAft>
                <a:spcPct val="0"/>
              </a:spcAft>
              <a:buClrTx/>
              <a:buSzTx/>
              <a:buNone/>
              <a:tabLst/>
            </a:pPr>
            <a:r>
              <a:rPr lang="sv-SE" sz="1600" dirty="0"/>
              <a:t>Öjersjö IF:s årsmöte hålls i klubbhuset 20 mars 2024.</a:t>
            </a:r>
          </a:p>
        </p:txBody>
      </p:sp>
      <p:pic>
        <p:nvPicPr>
          <p:cNvPr id="2" name="Picture 3">
            <a:extLst>
              <a:ext uri="{FF2B5EF4-FFF2-40B4-BE49-F238E27FC236}">
                <a16:creationId xmlns:a16="http://schemas.microsoft.com/office/drawing/2014/main" id="{2A5B3E66-74F2-986B-A5FB-707421E0CBF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242874" y="203819"/>
            <a:ext cx="2290602" cy="228692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386993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931F01C808BB49A570A3C05F1DB1FB" ma:contentTypeVersion="11" ma:contentTypeDescription="Create a new document." ma:contentTypeScope="" ma:versionID="03a9453f7488ba3b319a9bca747d59fc">
  <xsd:schema xmlns:xsd="http://www.w3.org/2001/XMLSchema" xmlns:xs="http://www.w3.org/2001/XMLSchema" xmlns:p="http://schemas.microsoft.com/office/2006/metadata/properties" xmlns:ns3="1a927520-854b-4f91-907f-6645f6e3d218" targetNamespace="http://schemas.microsoft.com/office/2006/metadata/properties" ma:root="true" ma:fieldsID="5ecd0dc0c9df782c66f8f64bbf7c4299" ns3:_="">
    <xsd:import namespace="1a927520-854b-4f91-907f-6645f6e3d21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927520-854b-4f91-907f-6645f6e3d2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360ECF-1F14-4629-8DD8-1C7A4613BF0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E77C9DB-7565-44CA-8F28-D02A99E26A8E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1a927520-854b-4f91-907f-6645f6e3d21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CC9599F-7474-4347-80C0-49F685A261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927520-854b-4f91-907f-6645f6e3d2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06</TotalTime>
  <Words>581</Words>
  <Application>Microsoft Office PowerPoint</Application>
  <PresentationFormat>Bredbild</PresentationFormat>
  <Paragraphs>55</Paragraphs>
  <Slides>5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Wingdings</vt:lpstr>
      <vt:lpstr>Office Theme</vt:lpstr>
      <vt:lpstr>think-cell Slide</vt:lpstr>
      <vt:lpstr>Öjersjö IF P-15    </vt:lpstr>
      <vt:lpstr>PowerPoint-presentation</vt:lpstr>
      <vt:lpstr>PowerPoint-presentation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Öjersjö IF P-14</dc:title>
  <dc:creator>Benigar, Markus</dc:creator>
  <cp:lastModifiedBy>Caroline Ericsson</cp:lastModifiedBy>
  <cp:revision>20</cp:revision>
  <dcterms:created xsi:type="dcterms:W3CDTF">2022-03-18T12:13:52Z</dcterms:created>
  <dcterms:modified xsi:type="dcterms:W3CDTF">2026-03-05T07:4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ea2623-af8f-4fb8-b1cf-b63cc8e496aa_Enabled">
    <vt:lpwstr>true</vt:lpwstr>
  </property>
  <property fmtid="{D5CDD505-2E9C-101B-9397-08002B2CF9AE}" pid="3" name="MSIP_Label_7fea2623-af8f-4fb8-b1cf-b63cc8e496aa_SetDate">
    <vt:lpwstr>2022-03-18T12:13:53Z</vt:lpwstr>
  </property>
  <property fmtid="{D5CDD505-2E9C-101B-9397-08002B2CF9AE}" pid="4" name="MSIP_Label_7fea2623-af8f-4fb8-b1cf-b63cc8e496aa_Method">
    <vt:lpwstr>Standard</vt:lpwstr>
  </property>
  <property fmtid="{D5CDD505-2E9C-101B-9397-08002B2CF9AE}" pid="5" name="MSIP_Label_7fea2623-af8f-4fb8-b1cf-b63cc8e496aa_Name">
    <vt:lpwstr>Internal</vt:lpwstr>
  </property>
  <property fmtid="{D5CDD505-2E9C-101B-9397-08002B2CF9AE}" pid="6" name="MSIP_Label_7fea2623-af8f-4fb8-b1cf-b63cc8e496aa_SiteId">
    <vt:lpwstr>81fa766e-a349-4867-8bf4-ab35e250a08f</vt:lpwstr>
  </property>
  <property fmtid="{D5CDD505-2E9C-101B-9397-08002B2CF9AE}" pid="7" name="MSIP_Label_7fea2623-af8f-4fb8-b1cf-b63cc8e496aa_ActionId">
    <vt:lpwstr>10f20b76-fd54-4947-93c0-9746eda09c3e</vt:lpwstr>
  </property>
  <property fmtid="{D5CDD505-2E9C-101B-9397-08002B2CF9AE}" pid="8" name="MSIP_Label_7fea2623-af8f-4fb8-b1cf-b63cc8e496aa_ContentBits">
    <vt:lpwstr>0</vt:lpwstr>
  </property>
  <property fmtid="{D5CDD505-2E9C-101B-9397-08002B2CF9AE}" pid="9" name="ContentTypeId">
    <vt:lpwstr>0x01010093931F01C808BB49A570A3C05F1DB1FB</vt:lpwstr>
  </property>
</Properties>
</file>